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442" r:id="rId3"/>
    <p:sldId id="391" r:id="rId4"/>
    <p:sldId id="449" r:id="rId5"/>
    <p:sldId id="450" r:id="rId6"/>
    <p:sldId id="424" r:id="rId7"/>
    <p:sldId id="446" r:id="rId8"/>
    <p:sldId id="425" r:id="rId9"/>
    <p:sldId id="451" r:id="rId10"/>
    <p:sldId id="35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1" autoAdjust="0"/>
    <p:restoredTop sz="94318" autoAdjust="0"/>
  </p:normalViewPr>
  <p:slideViewPr>
    <p:cSldViewPr snapToGrid="0">
      <p:cViewPr varScale="1">
        <p:scale>
          <a:sx n="63" d="100"/>
          <a:sy n="63" d="100"/>
        </p:scale>
        <p:origin x="80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/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pt-BR" sz="1800"/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/>
            <p:cNvSpPr/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  <p:sp>
          <p:nvSpPr>
            <p:cNvPr id="16" name="Freeform 29"/>
            <p:cNvSpPr/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880">
              <a:buFont typeface="Arial" panose="020B0604020202090204" pitchFamily="34" charset="0"/>
              <a:buChar char="-"/>
              <a:defRPr/>
            </a:lvl3pPr>
            <a:lvl5pPr marL="857250" indent="-177800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880">
              <a:buFont typeface="Arial" panose="020B0604020202090204" pitchFamily="34" charset="0"/>
              <a:buChar char="-"/>
              <a:defRPr/>
            </a:lvl3pPr>
            <a:lvl5pPr marL="857250" indent="-177800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8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FDE934FF-F4E1-47C5-9CA5-30A81DDE2BE4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3561BA9-CDCF-4958-B8AB-66F3BF063E1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8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dt="0"/>
  <p:txStyles>
    <p:titleStyle>
      <a:lvl1pPr marL="0" indent="0" algn="l" defTabSz="913765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3765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9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1pPr>
      <a:lvl2pPr marL="361950" indent="-184150" algn="l" defTabSz="91376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9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2pPr>
      <a:lvl3pPr marL="536575" indent="-174625" algn="l" defTabSz="91376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9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90204" pitchFamily="34" charset="0"/>
        </a:defRPr>
      </a:lvl3pPr>
      <a:lvl4pPr marL="685800" indent="-171450" algn="l" defTabSz="913765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7800" algn="l" defTabSz="913765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700" indent="-17272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245" indent="0" algn="l" defTabSz="913765" rtl="0" eaLnBrk="1" latinLnBrk="0" hangingPunct="1">
        <a:lnSpc>
          <a:spcPct val="90000"/>
        </a:lnSpc>
        <a:spcBef>
          <a:spcPts val="800"/>
        </a:spcBef>
        <a:buFont typeface="Arial" panose="020B060402020209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245" indent="0" algn="l" defTabSz="91376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9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245" indent="0" algn="l" defTabSz="913765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9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 txBox="1"/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1pPr>
            <a:lvl2pPr marL="361950" indent="-184150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2pPr>
            <a:lvl3pPr marL="536575" indent="-174625" algn="l" defTabSz="91376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90204" pitchFamily="34" charset="0"/>
                <a:ea typeface="+mn-ea"/>
                <a:cs typeface="Arial" panose="020B0604020202090204" pitchFamily="34" charset="0"/>
              </a:defRPr>
            </a:lvl3pPr>
            <a:lvl4pPr marL="685800" indent="-17145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9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7780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indent="-172720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9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245" indent="0" algn="l" defTabSz="913765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9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245" indent="0" algn="l" defTabSz="91376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9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45" indent="0" algn="l" defTabSz="913765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9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9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Mean stack</a:t>
            </a:r>
            <a:endParaRPr lang="en-US" sz="5400" cap="all" dirty="0">
              <a:solidFill>
                <a:schemeClr val="bg1"/>
              </a:solidFill>
              <a:latin typeface="Graphik Black" panose="020B0A0303020206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89760" y="1160210"/>
            <a:ext cx="4745600" cy="469569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p>
            <a:fld id="{B3561BA9-CDCF-4958-B8AB-66F3BF063E13}" type="slidenum">
              <a:rPr lang="en-US" smtClean="0"/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43050" y="1391920"/>
            <a:ext cx="8620125" cy="360045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0795"/>
            <a:ext cx="9649460" cy="4524375"/>
          </a:xfrm>
        </p:spPr>
        <p:txBody>
          <a:bodyPr wrap="square"/>
          <a:lstStyle/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Route Guards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pPr marL="0" indent="0">
              <a:buNone/>
            </a:pP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uto Authentication</a:t>
            </a:r>
            <a:b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uthorization - Associate posts with users</a:t>
            </a:r>
            <a:b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Protect resources with authorization</a:t>
            </a:r>
            <a:b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Pass and use user id on the frontend</a:t>
            </a:r>
            <a:b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TDD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Agenda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0795"/>
            <a:ext cx="5641340" cy="3115945"/>
          </a:xfrm>
        </p:spPr>
        <p:txBody>
          <a:bodyPr wrap="square"/>
          <a:lstStyle/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uthentication is the process of verifying the identity of the user of the application. 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pPr marL="0" indent="0">
              <a:buNone/>
            </a:pP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Common example is entering a username and password when you log in to a website. </a:t>
            </a:r>
            <a:b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</a:b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Single Factor Authentication, Multi-Factor Authentication, Biometrics are examples of types of authentication used in real world apps.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Authenticatio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93510" y="1280795"/>
            <a:ext cx="4773295" cy="412686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09090" y="590550"/>
            <a:ext cx="8974455" cy="51816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09980" y="603250"/>
            <a:ext cx="8674735" cy="550735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81660" y="561340"/>
            <a:ext cx="10184765" cy="551942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>
          <a:xfrm>
            <a:off x="381000" y="1280795"/>
            <a:ext cx="10962640" cy="2007870"/>
          </a:xfrm>
        </p:spPr>
        <p:txBody>
          <a:bodyPr wrap="square"/>
          <a:lstStyle/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Angular's route guards are interfaces which can tell the router whether or not it should allow navigation to a requested route.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pPr marL="0" indent="0">
              <a:buNone/>
            </a:pP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r>
              <a:rPr lang="en-US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Arial Unicode MS" panose="020B0604020202020204" charset="-122"/>
                <a:cs typeface="+mj-lt"/>
              </a:rPr>
              <a:t>There are five different types of guards and each of them is called in a particular sequence. The router's behavior is modified differently depending on which guard is used. </a:t>
            </a: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  <a:p>
            <a:pPr marL="457200" indent="-457200">
              <a:buAutoNum type="arabicPeriod"/>
            </a:pPr>
            <a:endParaRPr lang="en-US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Arial Unicode MS" panose="020B0604020202020204" charset="-122"/>
              <a:cs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oute Guard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1000" y="3790315"/>
            <a:ext cx="11042015" cy="291592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auto">
          <a:xfrm>
            <a:off x="5639368" y="1325867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31" name="Freeform 5"/>
          <p:cNvSpPr>
            <a:spLocks noChangeAspect="1" noEditPoints="1"/>
          </p:cNvSpPr>
          <p:nvPr/>
        </p:nvSpPr>
        <p:spPr bwMode="auto">
          <a:xfrm flipH="1" flipV="1">
            <a:off x="5639368" y="4812133"/>
            <a:ext cx="913263" cy="720000"/>
          </a:xfrm>
          <a:custGeom>
            <a:avLst/>
            <a:gdLst>
              <a:gd name="T0" fmla="*/ 1893 w 2098"/>
              <a:gd name="T1" fmla="*/ 980 h 1661"/>
              <a:gd name="T2" fmla="*/ 1743 w 2098"/>
              <a:gd name="T3" fmla="*/ 1661 h 1661"/>
              <a:gd name="T4" fmla="*/ 1062 w 2098"/>
              <a:gd name="T5" fmla="*/ 1661 h 1661"/>
              <a:gd name="T6" fmla="*/ 1191 w 2098"/>
              <a:gd name="T7" fmla="*/ 1066 h 1661"/>
              <a:gd name="T8" fmla="*/ 1538 w 2098"/>
              <a:gd name="T9" fmla="*/ 285 h 1661"/>
              <a:gd name="T10" fmla="*/ 2098 w 2098"/>
              <a:gd name="T11" fmla="*/ 0 h 1661"/>
              <a:gd name="T12" fmla="*/ 2045 w 2098"/>
              <a:gd name="T13" fmla="*/ 262 h 1661"/>
              <a:gd name="T14" fmla="*/ 1519 w 2098"/>
              <a:gd name="T15" fmla="*/ 980 h 1661"/>
              <a:gd name="T16" fmla="*/ 1893 w 2098"/>
              <a:gd name="T17" fmla="*/ 980 h 1661"/>
              <a:gd name="T18" fmla="*/ 831 w 2098"/>
              <a:gd name="T19" fmla="*/ 980 h 1661"/>
              <a:gd name="T20" fmla="*/ 681 w 2098"/>
              <a:gd name="T21" fmla="*/ 1661 h 1661"/>
              <a:gd name="T22" fmla="*/ 0 w 2098"/>
              <a:gd name="T23" fmla="*/ 1661 h 1661"/>
              <a:gd name="T24" fmla="*/ 129 w 2098"/>
              <a:gd name="T25" fmla="*/ 1066 h 1661"/>
              <a:gd name="T26" fmla="*/ 476 w 2098"/>
              <a:gd name="T27" fmla="*/ 285 h 1661"/>
              <a:gd name="T28" fmla="*/ 1036 w 2098"/>
              <a:gd name="T29" fmla="*/ 0 h 1661"/>
              <a:gd name="T30" fmla="*/ 983 w 2098"/>
              <a:gd name="T31" fmla="*/ 262 h 1661"/>
              <a:gd name="T32" fmla="*/ 457 w 2098"/>
              <a:gd name="T33" fmla="*/ 980 h 1661"/>
              <a:gd name="T34" fmla="*/ 831 w 2098"/>
              <a:gd name="T35" fmla="*/ 980 h 1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98" h="1661">
                <a:moveTo>
                  <a:pt x="1893" y="980"/>
                </a:moveTo>
                <a:lnTo>
                  <a:pt x="1743" y="1661"/>
                </a:lnTo>
                <a:lnTo>
                  <a:pt x="1062" y="1661"/>
                </a:lnTo>
                <a:lnTo>
                  <a:pt x="1191" y="1066"/>
                </a:lnTo>
                <a:cubicBezTo>
                  <a:pt x="1264" y="710"/>
                  <a:pt x="1380" y="451"/>
                  <a:pt x="1538" y="285"/>
                </a:cubicBezTo>
                <a:cubicBezTo>
                  <a:pt x="1696" y="119"/>
                  <a:pt x="1882" y="24"/>
                  <a:pt x="2098" y="0"/>
                </a:cubicBezTo>
                <a:lnTo>
                  <a:pt x="2045" y="262"/>
                </a:lnTo>
                <a:cubicBezTo>
                  <a:pt x="1785" y="333"/>
                  <a:pt x="1610" y="572"/>
                  <a:pt x="1519" y="980"/>
                </a:cubicBezTo>
                <a:lnTo>
                  <a:pt x="1893" y="980"/>
                </a:lnTo>
                <a:close/>
                <a:moveTo>
                  <a:pt x="831" y="980"/>
                </a:moveTo>
                <a:lnTo>
                  <a:pt x="681" y="1661"/>
                </a:lnTo>
                <a:lnTo>
                  <a:pt x="0" y="1661"/>
                </a:lnTo>
                <a:lnTo>
                  <a:pt x="129" y="1066"/>
                </a:lnTo>
                <a:cubicBezTo>
                  <a:pt x="202" y="710"/>
                  <a:pt x="318" y="451"/>
                  <a:pt x="476" y="285"/>
                </a:cubicBezTo>
                <a:cubicBezTo>
                  <a:pt x="634" y="119"/>
                  <a:pt x="820" y="24"/>
                  <a:pt x="1036" y="0"/>
                </a:cubicBezTo>
                <a:lnTo>
                  <a:pt x="983" y="262"/>
                </a:lnTo>
                <a:cubicBezTo>
                  <a:pt x="723" y="333"/>
                  <a:pt x="548" y="572"/>
                  <a:pt x="457" y="980"/>
                </a:cubicBezTo>
                <a:lnTo>
                  <a:pt x="831" y="98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32" name="Title 2"/>
          <p:cNvSpPr txBox="1"/>
          <p:nvPr/>
        </p:nvSpPr>
        <p:spPr>
          <a:xfrm>
            <a:off x="761998" y="3171825"/>
            <a:ext cx="10668002" cy="514350"/>
          </a:xfrm>
          <a:prstGeom prst="rect">
            <a:avLst/>
          </a:prstGeom>
        </p:spPr>
        <p:txBody>
          <a:bodyPr wrap="square" lIns="0" tIns="72000" rIns="0" bIns="0" anchor="ctr" anchorCtr="0">
            <a:spAutoFit/>
          </a:bodyPr>
          <a:lstStyle>
            <a:lvl1pPr marL="0" indent="0" algn="l" defTabSz="91376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  <a:spcBef>
                <a:spcPts val="900"/>
              </a:spcBef>
            </a:pPr>
            <a:r>
              <a:rPr lang="en-US" sz="3600" dirty="0">
                <a:solidFill>
                  <a:schemeClr val="accent1"/>
                </a:solidFill>
                <a:latin typeface="Graphik Black" panose="020B0A03030202060203" pitchFamily="34" charset="0"/>
              </a:rPr>
              <a:t>Thank you</a:t>
            </a:r>
            <a:endParaRPr lang="en-US" dirty="0">
              <a:solidFill>
                <a:schemeClr val="tx1"/>
              </a:solidFill>
              <a:latin typeface="Graphik Black" panose="020B0A03030202060203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90204" pitchFamily="34" charset="0"/>
          <a:buChar char="•"/>
          <a:defRPr sz="1400" dirty="0" err="1" smtClean="0"/>
        </a:defPPr>
      </a:lstStyle>
    </a:txDef>
  </a:objectDefaults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0</TotalTime>
  <Words>809</Words>
  <Application>WPS Writer</Application>
  <PresentationFormat>Widescreen</PresentationFormat>
  <Paragraphs>32</Paragraphs>
  <Slides>9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Arial</vt:lpstr>
      <vt:lpstr>SimSun</vt:lpstr>
      <vt:lpstr>Wingdings</vt:lpstr>
      <vt:lpstr>Graphik Black</vt:lpstr>
      <vt:lpstr>PingFang SC</vt:lpstr>
      <vt:lpstr>Graphik</vt:lpstr>
      <vt:lpstr>Arial Unicode MS</vt:lpstr>
      <vt:lpstr>Arial Black</vt:lpstr>
      <vt:lpstr>微软雅黑</vt:lpstr>
      <vt:lpstr>Songti SC</vt:lpstr>
      <vt:lpstr>CA00000_Acc_Engl</vt:lpstr>
      <vt:lpstr>TCLayout.ActiveDocument.1</vt:lpstr>
      <vt:lpstr>PowerPoint 演示文稿</vt:lpstr>
      <vt:lpstr>PowerPoint 演示文稿</vt:lpstr>
      <vt:lpstr>Agenda</vt:lpstr>
      <vt:lpstr>Authentication</vt:lpstr>
      <vt:lpstr>PowerPoint 演示文稿</vt:lpstr>
      <vt:lpstr>PowerPoint 演示文稿</vt:lpstr>
      <vt:lpstr>PowerPoint 演示文稿</vt:lpstr>
      <vt:lpstr>Route Guard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creator>Ajith Kumar A M</dc:creator>
  <dc:subject>CSB</dc:subject>
  <cp:lastModifiedBy>jathindevaiah</cp:lastModifiedBy>
  <cp:revision>53</cp:revision>
  <dcterms:created xsi:type="dcterms:W3CDTF">2020-05-14T16:49:20Z</dcterms:created>
  <dcterms:modified xsi:type="dcterms:W3CDTF">2020-05-14T16:4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  <property fmtid="{D5CDD505-2E9C-101B-9397-08002B2CF9AE}" pid="3" name="KSOProductBuildVer">
    <vt:lpwstr>1033-2.2.0.3644</vt:lpwstr>
  </property>
</Properties>
</file>